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76" r:id="rId1"/>
  </p:sldMasterIdLst>
  <p:notesMasterIdLst>
    <p:notesMasterId r:id="rId14"/>
  </p:notesMasterIdLst>
  <p:sldIdLst>
    <p:sldId id="256" r:id="rId2"/>
    <p:sldId id="274" r:id="rId3"/>
    <p:sldId id="258" r:id="rId4"/>
    <p:sldId id="278" r:id="rId5"/>
    <p:sldId id="283" r:id="rId6"/>
    <p:sldId id="279" r:id="rId7"/>
    <p:sldId id="282" r:id="rId8"/>
    <p:sldId id="285" r:id="rId9"/>
    <p:sldId id="284" r:id="rId10"/>
    <p:sldId id="286" r:id="rId11"/>
    <p:sldId id="287" r:id="rId12"/>
    <p:sldId id="288" r:id="rId13"/>
  </p:sldIdLst>
  <p:sldSz cx="12192000" cy="6858000"/>
  <p:notesSz cx="6858000" cy="9144000"/>
  <p:custDataLst>
    <p:tags r:id="rId15"/>
  </p:custDataLst>
  <p:defaultTextStyle>
    <a:defPPr>
      <a:defRPr lang="x-non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615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E25E649-3F16-4E02-A733-19D2CDBF48F0}" styleName="Средний стиль 3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039" autoAdjust="0"/>
    <p:restoredTop sz="95320" autoAdjust="0"/>
  </p:normalViewPr>
  <p:slideViewPr>
    <p:cSldViewPr snapToGrid="0" snapToObjects="1">
      <p:cViewPr varScale="1">
        <p:scale>
          <a:sx n="114" d="100"/>
          <a:sy n="114" d="100"/>
        </p:scale>
        <p:origin x="642" y="102"/>
      </p:cViewPr>
      <p:guideLst>
        <p:guide orient="horz" pos="2160"/>
        <p:guide pos="261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80AC3F-BEC8-4FBB-8241-AD87A7F0308E}" type="datetimeFigureOut">
              <a:rPr lang="ru-RU" smtClean="0"/>
              <a:pPr/>
              <a:t>16.09.2021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153F5F-39C1-4EC9-AA89-11072C0EB8B7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88667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46534" y="3085764"/>
            <a:ext cx="11298932" cy="3338149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1191" y="1020431"/>
            <a:ext cx="10993549" cy="1475013"/>
          </a:xfrm>
          <a:effectLst/>
        </p:spPr>
        <p:txBody>
          <a:bodyPr anchor="b">
            <a:normAutofit/>
          </a:bodyPr>
          <a:lstStyle>
            <a:lvl1pPr>
              <a:defRPr sz="3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1194" y="2495445"/>
            <a:ext cx="10993546" cy="590321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cap="all">
                <a:solidFill>
                  <a:schemeClr val="accent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FA0ACE7-29A8-47D3-A7D9-257B711D80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91B17-9318-49DB-B28B-6E5994AE9581}" type="datetime1">
              <a:rPr lang="en-US" smtClean="0"/>
              <a:pPr/>
              <a:t>9/16/2021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DEC604B9-52E9-4810-8359-47206518D0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898A89F-CA25-400F-B05A-AECBF2517E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9949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CED4963-E985-44C4-B8C4-FDD613B7C2F8}" type="datetime1">
              <a:rPr lang="en-US" smtClean="0"/>
              <a:pPr/>
              <a:t>9/1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22269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8058151" y="599725"/>
            <a:ext cx="3687316" cy="5816950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04200" y="863600"/>
            <a:ext cx="3124200" cy="4807326"/>
          </a:xfrm>
        </p:spPr>
        <p:txBody>
          <a:bodyPr vert="eaVert" anchor="ctr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4923" y="863600"/>
            <a:ext cx="7161625" cy="4807326"/>
          </a:xfrm>
        </p:spPr>
        <p:txBody>
          <a:bodyPr vert="eaVert" anchor="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6423B97-A5D4-47B9-8861-73B3707A04CF}"/>
              </a:ext>
            </a:extLst>
          </p:cNvPr>
          <p:cNvSpPr/>
          <p:nvPr/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rgbClr val="969FA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AEC0421-37B4-4481-A10D-69FDF5EC7909}"/>
              </a:ext>
            </a:extLst>
          </p:cNvPr>
          <p:cNvSpPr/>
          <p:nvPr/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F7265B5-9F97-4F1E-99E9-74F7B7E62337}"/>
              </a:ext>
            </a:extLst>
          </p:cNvPr>
          <p:cNvSpPr/>
          <p:nvPr/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5C74A470-3BD3-4F33-80E5-67E6E87FCB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291B17-9318-49DB-B28B-6E5994AE9581}" type="datetime1">
              <a:rPr lang="en-US" smtClean="0"/>
              <a:pPr/>
              <a:t>9/16/2021</a:t>
            </a:fld>
            <a:endParaRPr lang="en-US" dirty="0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9A3A30BA-DB50-4D7D-BCDE-17D20FB354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76FF9E58-C0B2-436B-A21C-DB45A00D6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90267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1887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1192" y="2340864"/>
            <a:ext cx="11029615" cy="363448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70E6237-3456-439F-802D-3BA93FC7E3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DD82B9-B8EE-4375-B6FF-88FA6ABB15D9}" type="datetime1">
              <a:rPr lang="en-US" smtClean="0"/>
              <a:pPr/>
              <a:t>9/16/2021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1356D3B5-6063-4A89-B88F-9D3043916F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02B78BF7-69D3-4CE0-A631-50EFD41EEE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621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7817" y="5141974"/>
            <a:ext cx="11290860" cy="1258827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2393950"/>
            <a:ext cx="11029615" cy="2147467"/>
          </a:xfrm>
        </p:spPr>
        <p:txBody>
          <a:bodyPr anchor="b">
            <a:normAutofit/>
          </a:bodyPr>
          <a:lstStyle>
            <a:lvl1pPr algn="l">
              <a:defRPr sz="3600" b="0" cap="all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4541417"/>
            <a:ext cx="11029615" cy="600556"/>
          </a:xfrm>
        </p:spPr>
        <p:txBody>
          <a:bodyPr anchor="t">
            <a:normAutofit/>
          </a:bodyPr>
          <a:lstStyle>
            <a:lvl1pPr marL="0" indent="0" algn="l">
              <a:buNone/>
              <a:defRPr sz="1800" cap="all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1582016-5696-4A93-887F-BBB3B9002F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497495-0637-405E-AE64-5CC7506D51F5}" type="datetime1">
              <a:rPr lang="en-US" smtClean="0"/>
              <a:pPr/>
              <a:t>9/16/2021</a:t>
            </a:fld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57CFCD5-1192-4E18-8A8F-29E153B44D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39A109E-5018-4794-92B3-FD5E5BCD95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44376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1193" y="2228003"/>
            <a:ext cx="5194767" cy="363304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16039" y="2228003"/>
            <a:ext cx="5194769" cy="3633047"/>
          </a:xfrm>
        </p:spPr>
        <p:txBody>
          <a:bodyPr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FFD690-9426-415D-8B65-26881E07B2D4}" type="datetime1">
              <a:rPr lang="en-US" smtClean="0"/>
              <a:pPr/>
              <a:t>9/16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9375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81193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1" y="2250891"/>
            <a:ext cx="5194769" cy="557784"/>
          </a:xfrm>
        </p:spPr>
        <p:txBody>
          <a:bodyPr anchor="ctr">
            <a:noAutofit/>
          </a:bodyPr>
          <a:lstStyle>
            <a:lvl1pPr marL="0" indent="0">
              <a:buNone/>
              <a:defRPr sz="2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1194" y="2926052"/>
            <a:ext cx="5194766" cy="2934999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16039" y="2250892"/>
            <a:ext cx="5194770" cy="553373"/>
          </a:xfrm>
        </p:spPr>
        <p:txBody>
          <a:bodyPr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None/>
              <a:tabLst/>
              <a:defRPr sz="20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16037" y="2926052"/>
            <a:ext cx="5194771" cy="2934999"/>
          </a:xfrm>
        </p:spPr>
        <p:txBody>
          <a:bodyPr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C4989A-474C-40DE-95B9-011C28B71673}" type="datetime1">
              <a:rPr lang="en-US" smtClean="0"/>
              <a:pPr/>
              <a:t>9/16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67178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75894" y="729658"/>
            <a:ext cx="11029616" cy="9883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B4ED54-5B5E-4A04-93D3-5772E3CE3818}" type="datetime1">
              <a:rPr lang="en-US" smtClean="0"/>
              <a:pPr/>
              <a:t>9/16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1443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DE50D6-574B-40AF-946F-D52A04ADE379}" type="datetime1">
              <a:rPr lang="en-US" smtClean="0"/>
              <a:pPr/>
              <a:t>9/16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68316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spect="1"/>
          </p:cNvSpPr>
          <p:nvPr/>
        </p:nvSpPr>
        <p:spPr>
          <a:xfrm>
            <a:off x="447817" y="601200"/>
            <a:ext cx="3682723" cy="5815475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7857" y="933450"/>
            <a:ext cx="3031852" cy="1722419"/>
          </a:xfrm>
        </p:spPr>
        <p:txBody>
          <a:bodyPr anchor="b">
            <a:normAutofit/>
          </a:bodyPr>
          <a:lstStyle>
            <a:lvl1pPr algn="l">
              <a:defRPr sz="24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00928" y="1179829"/>
            <a:ext cx="6650991" cy="4658216"/>
          </a:xfrm>
        </p:spPr>
        <p:txBody>
          <a:bodyPr anchor="ctr">
            <a:norm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 sz="1400">
                <a:solidFill>
                  <a:schemeClr val="tx2"/>
                </a:solidFill>
              </a:defRPr>
            </a:lvl8pPr>
            <a:lvl9pPr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67857" y="2836654"/>
            <a:ext cx="3031852" cy="3001392"/>
          </a:xfrm>
        </p:spPr>
        <p:txBody>
          <a:bodyPr anchor="t">
            <a:normAutofit/>
          </a:bodyPr>
          <a:lstStyle>
            <a:lvl1pPr marL="0" indent="0" algn="l">
              <a:buNone/>
              <a:defRPr sz="1600">
                <a:solidFill>
                  <a:srgbClr val="FFFFFF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0B919CC2-2A65-446F-B538-9E624903544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605951" y="6456916"/>
            <a:ext cx="2844799" cy="365125"/>
          </a:xfrm>
        </p:spPr>
        <p:txBody>
          <a:bodyPr/>
          <a:lstStyle/>
          <a:p>
            <a:fld id="{D82884F1-FFEA-405F-9602-3DCA865EDA4E}" type="datetime1">
              <a:rPr lang="en-US" smtClean="0"/>
              <a:pPr/>
              <a:t>9/16/2021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B72412AE-119E-4982-8B24-63365EFCA7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81192" y="6452590"/>
            <a:ext cx="6917210" cy="3651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FC4BB19-6AD1-45CF-9F99-00B109890F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58300" y="6456916"/>
            <a:ext cx="1052510" cy="365125"/>
          </a:xfrm>
        </p:spPr>
        <p:txBody>
          <a:bodyPr/>
          <a:lstStyle/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12044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4693389"/>
            <a:ext cx="11029616" cy="566738"/>
          </a:xfrm>
        </p:spPr>
        <p:txBody>
          <a:bodyPr anchor="b">
            <a:normAutofit/>
          </a:bodyPr>
          <a:lstStyle>
            <a:lvl1pPr algn="l">
              <a:defRPr sz="2400" b="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47817" y="641350"/>
            <a:ext cx="11290859" cy="3651249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81192" y="5260127"/>
            <a:ext cx="11029617" cy="998148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18DB4A-8810-4A10-AD5C-D5E2C667F5B3}" type="datetime1">
              <a:rPr lang="en-US" smtClean="0"/>
              <a:pPr/>
              <a:t>9/16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18402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11781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14" imgW="425" imgH="424" progId="TCLayout.ActiveDocument.1">
                  <p:embed/>
                </p:oleObj>
              </mc:Choice>
              <mc:Fallback>
                <p:oleObj name="Слайд think-cell" r:id="rId14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1192" y="705124"/>
            <a:ext cx="11029616" cy="118955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2336002"/>
            <a:ext cx="11029616" cy="36520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05951" y="6423914"/>
            <a:ext cx="28447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ED291B17-9318-49DB-B28B-6E5994AE9581}" type="datetime1">
              <a:rPr lang="en-US" smtClean="0"/>
              <a:pPr/>
              <a:t>9/1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1192" y="6423914"/>
            <a:ext cx="69172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50" cap="all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58300" y="6423914"/>
            <a:ext cx="10525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3A98EE3D-8CD1-4C3F-BD1C-C98C959646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10" name="Rectangle 9"/>
          <p:cNvSpPr/>
          <p:nvPr/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rgbClr val="969FA7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11" name="Rectangle 10"/>
          <p:cNvSpPr/>
          <p:nvPr/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14665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5" r:id="rId6"/>
    <p:sldLayoutId id="2147483770" r:id="rId7"/>
    <p:sldLayoutId id="2147483771" r:id="rId8"/>
    <p:sldLayoutId id="2147483772" r:id="rId9"/>
    <p:sldLayoutId id="2147483774" r:id="rId10"/>
    <p:sldLayoutId id="2147483773" r:id="rId11"/>
  </p:sldLayoutIdLst>
  <p:hf sldNum="0"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2700" b="0" kern="1200" cap="all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06000" indent="-306000" algn="l" defTabSz="457200" rtl="0" eaLnBrk="1" latinLnBrk="0" hangingPunct="1">
        <a:lnSpc>
          <a:spcPct val="110000"/>
        </a:lnSpc>
        <a:spcBef>
          <a:spcPct val="20000"/>
        </a:spcBef>
        <a:spcAft>
          <a:spcPts val="600"/>
        </a:spcAft>
        <a:buClr>
          <a:schemeClr val="accent1"/>
        </a:buClr>
        <a:buSzPct val="92000"/>
        <a:buFont typeface="Wingdings 2" panose="05020102010507070707" pitchFamily="18" charset="2"/>
        <a:buChar char=""/>
        <a:defRPr sz="17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630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92000"/>
        <a:buFont typeface="Wingdings 2" panose="05020102010507070707" pitchFamily="18" charset="2"/>
        <a:buChar char=""/>
        <a:defRPr sz="15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900000" indent="-270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92000"/>
        <a:buFont typeface="Wingdings 2" panose="05020102010507070707" pitchFamily="18" charset="2"/>
        <a:buChar char="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24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60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1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9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22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5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28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hyperlink" Target="mailto:khp@khp.kz" TargetMode="External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hyperlink" Target="http://chemindustry.kz/" TargetMode="Externa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1072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A6BCA77-9129-0040-B818-A09D9A575A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2683" y="2667000"/>
            <a:ext cx="10829306" cy="2070463"/>
          </a:xfrm>
        </p:spPr>
        <p:txBody>
          <a:bodyPr vert="horz" anchor="ctr">
            <a:normAutofit/>
            <a:scene3d>
              <a:camera prst="orthographicFront"/>
              <a:lightRig rig="soft" dir="t">
                <a:rot lat="0" lon="0" rev="15600000"/>
              </a:lightRig>
            </a:scene3d>
            <a:sp3d extrusionH="57150" prstMaterial="softEdge">
              <a:bevelT w="25400" h="38100"/>
            </a:sp3d>
          </a:bodyPr>
          <a:lstStyle/>
          <a:p>
            <a:pPr algn="ctr"/>
            <a:r>
              <a:rPr lang="ru-RU" sz="3200" b="1" dirty="0">
                <a:latin typeface="Arial" panose="020B0604020202020204" pitchFamily="34" charset="0"/>
                <a:cs typeface="Arial" panose="020B0604020202020204" pitchFamily="34" charset="0"/>
              </a:rPr>
              <a:t>Доклад ОЮЛ «КАЗАХСТАНСКИЙ СОЮЗ ХИМИЧЕСКОЙ ПРОМЫШЛЕННОСТИ»</a:t>
            </a:r>
          </a:p>
        </p:txBody>
      </p:sp>
      <p:sp>
        <p:nvSpPr>
          <p:cNvPr id="16" name="object 33"/>
          <p:cNvSpPr txBox="1">
            <a:spLocks noChangeArrowheads="1"/>
          </p:cNvSpPr>
          <p:nvPr/>
        </p:nvSpPr>
        <p:spPr bwMode="auto">
          <a:xfrm>
            <a:off x="422274" y="1624280"/>
            <a:ext cx="2166689" cy="4723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3970" rIns="0" bIns="0">
            <a:spAutoFit/>
          </a:bodyPr>
          <a:lstStyle>
            <a:lvl1pPr marL="127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ts val="113"/>
              </a:spcBef>
            </a:pPr>
            <a:r>
              <a:rPr lang="ru-RU" altLang="ru-RU" b="1" dirty="0">
                <a:solidFill>
                  <a:srgbClr val="0000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ZHIMPROM</a:t>
            </a:r>
            <a:endParaRPr lang="ru-RU" alt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16000"/>
              </a:lnSpc>
              <a:spcBef>
                <a:spcPts val="288"/>
              </a:spcBef>
            </a:pPr>
            <a:endParaRPr lang="ru-RU" altLang="ru-RU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6533" y="1131913"/>
            <a:ext cx="438950" cy="43895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6BAB17A-D16C-4CE9-AE42-3AC4794AB080}"/>
              </a:ext>
            </a:extLst>
          </p:cNvPr>
          <p:cNvSpPr txBox="1"/>
          <p:nvPr/>
        </p:nvSpPr>
        <p:spPr>
          <a:xfrm>
            <a:off x="9616152" y="5816114"/>
            <a:ext cx="29745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569829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71307045"/>
              </p:ext>
            </p:extLst>
          </p:nvPr>
        </p:nvGraphicFramePr>
        <p:xfrm>
          <a:off x="295275" y="1056641"/>
          <a:ext cx="11448249" cy="5633941"/>
        </p:xfrm>
        <a:graphic>
          <a:graphicData uri="http://schemas.openxmlformats.org/drawingml/2006/table">
            <a:tbl>
              <a:tblPr firstRow="1" firstCol="1" bandRow="1">
                <a:tableStyleId>{6E25E649-3F16-4E02-A733-19D2CDBF48F0}</a:tableStyleId>
              </a:tblPr>
              <a:tblGrid>
                <a:gridCol w="628748">
                  <a:extLst>
                    <a:ext uri="{9D8B030D-6E8A-4147-A177-3AD203B41FA5}">
                      <a16:colId xmlns:a16="http://schemas.microsoft.com/office/drawing/2014/main" val="3326982080"/>
                    </a:ext>
                  </a:extLst>
                </a:gridCol>
                <a:gridCol w="1614764">
                  <a:extLst>
                    <a:ext uri="{9D8B030D-6E8A-4147-A177-3AD203B41FA5}">
                      <a16:colId xmlns:a16="http://schemas.microsoft.com/office/drawing/2014/main" val="1483069741"/>
                    </a:ext>
                  </a:extLst>
                </a:gridCol>
                <a:gridCol w="3068802">
                  <a:extLst>
                    <a:ext uri="{9D8B030D-6E8A-4147-A177-3AD203B41FA5}">
                      <a16:colId xmlns:a16="http://schemas.microsoft.com/office/drawing/2014/main" val="672208700"/>
                    </a:ext>
                  </a:extLst>
                </a:gridCol>
                <a:gridCol w="6135935">
                  <a:extLst>
                    <a:ext uri="{9D8B030D-6E8A-4147-A177-3AD203B41FA5}">
                      <a16:colId xmlns:a16="http://schemas.microsoft.com/office/drawing/2014/main" val="1790797672"/>
                    </a:ext>
                  </a:extLst>
                </a:gridCol>
              </a:tblGrid>
              <a:tr h="4913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800"/>
                        </a:spcBef>
                        <a:spcAft>
                          <a:spcPts val="8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r>
                        <a:rPr lang="ru-RU" sz="1000" dirty="0" err="1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.п</a:t>
                      </a:r>
                      <a:endParaRPr lang="ru-RU" sz="10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44000" marR="1080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 продукции (</a:t>
                      </a:r>
                      <a:r>
                        <a:rPr lang="ru-RU" sz="1000" dirty="0" err="1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дотрасль</a:t>
                      </a: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ru-RU" sz="10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44000" marR="10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Заявители</a:t>
                      </a:r>
                    </a:p>
                  </a:txBody>
                  <a:tcPr marL="144000" marR="10800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 проблемных вопросов</a:t>
                      </a:r>
                      <a:endParaRPr lang="ru-RU" sz="10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44000" marR="10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1222626"/>
                  </a:ext>
                </a:extLst>
              </a:tr>
              <a:tr h="111087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800"/>
                        </a:spcBef>
                        <a:spcAft>
                          <a:spcPts val="8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ru-RU" sz="10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44000" marR="1080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удобрений и пестицидов</a:t>
                      </a:r>
                      <a:endParaRPr lang="ru-RU" sz="10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44000" marR="10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О «Астана Нан».</a:t>
                      </a:r>
                    </a:p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О «Щелково –</a:t>
                      </a:r>
                      <a:r>
                        <a:rPr lang="ru-RU" sz="1000" dirty="0" err="1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грохим</a:t>
                      </a: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.</a:t>
                      </a:r>
                      <a:endParaRPr lang="ru-RU" sz="10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44000" marR="10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Невозможность производство на экспорт не зарегистрированных видов пестицидов.</a:t>
                      </a:r>
                    </a:p>
                    <a:p>
                      <a:pPr algn="just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Не принятие НДС методом зачета.</a:t>
                      </a:r>
                    </a:p>
                    <a:p>
                      <a:pPr algn="just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Неравные условия субсидирования стоимости удобрений предоставляемые государством для иностранных и отечественных производителей.</a:t>
                      </a:r>
                    </a:p>
                    <a:p>
                      <a:pPr algn="just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Процедуры по выдачи сертификатов на продукцию.</a:t>
                      </a:r>
                      <a:endParaRPr lang="ru-RU" sz="10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44000" marR="10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2803997"/>
                  </a:ext>
                </a:extLst>
              </a:tr>
              <a:tr h="1185966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0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44000" marR="1080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</a:tabLst>
                      </a:pPr>
                      <a:r>
                        <a:rPr lang="ru-RU" sz="100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взрывчатых веществ и ведение взрывных работ</a:t>
                      </a:r>
                    </a:p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44000" marR="10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О «УК ТРАНСВЗРЫВПРОМ»</a:t>
                      </a:r>
                    </a:p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 err="1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олмецкий</a:t>
                      </a: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Ю.И</a:t>
                      </a:r>
                    </a:p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иректор</a:t>
                      </a:r>
                    </a:p>
                  </a:txBody>
                  <a:tcPr marL="144000" marR="10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Наличие складов в собственности для получение лицензии по подвиду деятельности по приобретению и реализации взрывчатых веществ (ВВ).</a:t>
                      </a:r>
                    </a:p>
                    <a:p>
                      <a:pPr algn="just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Усложнен доступ к средствам. инициирования и взрывчатым веществам.</a:t>
                      </a:r>
                    </a:p>
                    <a:p>
                      <a:pPr algn="just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Отсутствие контроля за оборотом ВВ.</a:t>
                      </a:r>
                    </a:p>
                    <a:p>
                      <a:pPr algn="just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Отсутствие прозрачности в  работе совета по взрывному делу при МЧС.</a:t>
                      </a:r>
                      <a:endParaRPr lang="ru-RU" sz="10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44000" marR="10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4717570"/>
                  </a:ext>
                </a:extLst>
              </a:tr>
              <a:tr h="1467571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  <a:endParaRPr lang="ru-RU" sz="10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44000" marR="1080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</a:t>
                      </a:r>
                      <a:r>
                        <a:rPr lang="en-US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изводители </a:t>
                      </a: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полимерных </a:t>
                      </a:r>
                      <a:r>
                        <a:rPr lang="en-US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уб</a:t>
                      </a:r>
                      <a:endParaRPr lang="ru-RU" sz="1000"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44000" marR="10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О</a:t>
                      </a:r>
                      <a:r>
                        <a:rPr lang="en-US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«Pipe-</a:t>
                      </a:r>
                      <a:r>
                        <a:rPr lang="en-US" sz="1000" dirty="0" err="1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st</a:t>
                      </a:r>
                      <a:r>
                        <a:rPr lang="en-US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ompany»,</a:t>
                      </a:r>
                      <a:endParaRPr lang="ru-RU" sz="1000" dirty="0">
                        <a:ln>
                          <a:noFill/>
                        </a:ln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О</a:t>
                      </a:r>
                      <a:r>
                        <a:rPr lang="en-US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"</a:t>
                      </a:r>
                      <a:r>
                        <a:rPr lang="ru-RU" sz="1000" dirty="0" err="1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пира</a:t>
                      </a:r>
                      <a:r>
                        <a:rPr lang="en-US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ерга</a:t>
                      </a:r>
                      <a:r>
                        <a:rPr lang="en-US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"</a:t>
                      </a:r>
                      <a:endParaRPr lang="ru-RU" sz="1000" dirty="0">
                        <a:ln>
                          <a:noFill/>
                        </a:ln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</a:tabLst>
                      </a:pPr>
                      <a:r>
                        <a:rPr lang="en-US" sz="1000" dirty="0" err="1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st</a:t>
                      </a:r>
                      <a:r>
                        <a:rPr lang="en-US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nvest Production</a:t>
                      </a:r>
                      <a:endParaRPr lang="ru-RU" sz="1000" dirty="0">
                        <a:ln>
                          <a:noFill/>
                        </a:ln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О</a:t>
                      </a:r>
                      <a:r>
                        <a:rPr lang="en-US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"Trans </a:t>
                      </a:r>
                      <a:r>
                        <a:rPr lang="en-US" sz="1000" dirty="0" err="1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st</a:t>
                      </a:r>
                      <a:r>
                        <a:rPr lang="en-US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",</a:t>
                      </a:r>
                      <a:endParaRPr lang="ru-RU" sz="1000" dirty="0">
                        <a:ln>
                          <a:noFill/>
                        </a:ln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О ТД СТЗ</a:t>
                      </a:r>
                      <a:r>
                        <a:rPr lang="en-US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"</a:t>
                      </a:r>
                      <a:r>
                        <a:rPr lang="ru-RU" sz="1000" dirty="0" err="1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рыстан</a:t>
                      </a:r>
                      <a:r>
                        <a:rPr lang="en-US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",</a:t>
                      </a:r>
                      <a:endParaRPr lang="ru-RU" sz="1000" dirty="0">
                        <a:ln>
                          <a:noFill/>
                        </a:ln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О</a:t>
                      </a:r>
                      <a:r>
                        <a:rPr lang="en-US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"KAZ PLAST TRADE"</a:t>
                      </a:r>
                      <a:endParaRPr lang="ru-RU" sz="10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44000" marR="10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228600" algn="l"/>
                        </a:tabLs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Наличие контрафактной продукции</a:t>
                      </a:r>
                    </a:p>
                    <a:p>
                      <a:pPr algn="just">
                        <a:spcAft>
                          <a:spcPts val="0"/>
                        </a:spcAft>
                        <a:tabLst>
                          <a:tab pos="228600" algn="l"/>
                        </a:tabLs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Использование при производстве не трубного сырья.</a:t>
                      </a:r>
                    </a:p>
                    <a:p>
                      <a:pPr algn="just">
                        <a:spcAft>
                          <a:spcPts val="0"/>
                        </a:spcAft>
                        <a:tabLst>
                          <a:tab pos="228600" algn="l"/>
                        </a:tabLs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Пошлины на ввоз сырья при отсутствии производств в РК.</a:t>
                      </a:r>
                    </a:p>
                  </a:txBody>
                  <a:tcPr marL="144000" marR="10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8091710"/>
                  </a:ext>
                </a:extLst>
              </a:tr>
              <a:tr h="594581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  <a:endParaRPr lang="ru-RU" sz="10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44000" marR="1080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мышленные масла</a:t>
                      </a:r>
                      <a:endParaRPr lang="ru-RU" sz="100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44000" marR="10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О «Лукойл </a:t>
                      </a:r>
                      <a:r>
                        <a:rPr lang="ru-RU" sz="1000" dirty="0" err="1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убрикантс</a:t>
                      </a: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</a:t>
                      </a:r>
                    </a:p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О «Хилл»</a:t>
                      </a:r>
                      <a:endParaRPr lang="ru-RU" sz="10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44000" marR="10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Защита внутреннего рынка от импортной продукции.</a:t>
                      </a:r>
                    </a:p>
                    <a:p>
                      <a:pPr algn="just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Невозможность получение сертификата СТ1 при экспорте в Узбекистан. </a:t>
                      </a:r>
                      <a:endParaRPr lang="ru-RU" sz="10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44000" marR="10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0658186"/>
                  </a:ext>
                </a:extLst>
              </a:tr>
              <a:tr h="322379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</a:t>
                      </a:r>
                      <a:endParaRPr lang="ru-RU" sz="10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44000" marR="10800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ерная кислота</a:t>
                      </a:r>
                      <a:endParaRPr lang="ru-RU" sz="10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44000" marR="10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</a:tabLst>
                      </a:pPr>
                      <a:r>
                        <a:rPr lang="ru-RU" sz="100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требители серной кислоты</a:t>
                      </a:r>
                      <a:endParaRPr lang="ru-RU" sz="100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44000" marR="10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вышение эффективности нейтрализации и расширения сфер применение серной кислоты в промышленности, снижение воздействия на окружающую среду.</a:t>
                      </a:r>
                      <a:endParaRPr lang="ru-RU" sz="10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44000" marR="10800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710039588"/>
                  </a:ext>
                </a:extLst>
              </a:tr>
            </a:tbl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418632" y="-132080"/>
            <a:ext cx="11029616" cy="1188720"/>
          </a:xfrm>
        </p:spPr>
        <p:txBody>
          <a:bodyPr/>
          <a:lstStyle/>
          <a:p>
            <a:r>
              <a:rPr lang="ru-RU" b="1" dirty="0"/>
              <a:t>список проблемных вопросов отрасл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945659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21758" y="-96912"/>
            <a:ext cx="11029616" cy="1188720"/>
          </a:xfrm>
        </p:spPr>
        <p:txBody>
          <a:bodyPr/>
          <a:lstStyle/>
          <a:p>
            <a:r>
              <a:rPr lang="ru-RU" b="1" dirty="0"/>
              <a:t>список проблемных вопросов отрасли</a:t>
            </a:r>
            <a:endParaRPr lang="ru-RU" dirty="0"/>
          </a:p>
        </p:txBody>
      </p:sp>
      <p:graphicFrame>
        <p:nvGraphicFramePr>
          <p:cNvPr id="9" name="Объект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88473136"/>
              </p:ext>
            </p:extLst>
          </p:nvPr>
        </p:nvGraphicFramePr>
        <p:xfrm>
          <a:off x="295274" y="1091808"/>
          <a:ext cx="11448250" cy="2611995"/>
        </p:xfrm>
        <a:graphic>
          <a:graphicData uri="http://schemas.openxmlformats.org/drawingml/2006/table">
            <a:tbl>
              <a:tblPr firstRow="1" firstCol="1" bandRow="1">
                <a:tableStyleId>{6E25E649-3F16-4E02-A733-19D2CDBF48F0}</a:tableStyleId>
              </a:tblPr>
              <a:tblGrid>
                <a:gridCol w="628750">
                  <a:extLst>
                    <a:ext uri="{9D8B030D-6E8A-4147-A177-3AD203B41FA5}">
                      <a16:colId xmlns:a16="http://schemas.microsoft.com/office/drawing/2014/main" val="3769227856"/>
                    </a:ext>
                  </a:extLst>
                </a:gridCol>
                <a:gridCol w="1614762">
                  <a:extLst>
                    <a:ext uri="{9D8B030D-6E8A-4147-A177-3AD203B41FA5}">
                      <a16:colId xmlns:a16="http://schemas.microsoft.com/office/drawing/2014/main" val="383392627"/>
                    </a:ext>
                  </a:extLst>
                </a:gridCol>
                <a:gridCol w="3068802">
                  <a:extLst>
                    <a:ext uri="{9D8B030D-6E8A-4147-A177-3AD203B41FA5}">
                      <a16:colId xmlns:a16="http://schemas.microsoft.com/office/drawing/2014/main" val="2849032509"/>
                    </a:ext>
                  </a:extLst>
                </a:gridCol>
                <a:gridCol w="6135936">
                  <a:extLst>
                    <a:ext uri="{9D8B030D-6E8A-4147-A177-3AD203B41FA5}">
                      <a16:colId xmlns:a16="http://schemas.microsoft.com/office/drawing/2014/main" val="210936493"/>
                    </a:ext>
                  </a:extLst>
                </a:gridCol>
              </a:tblGrid>
              <a:tr h="43207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800"/>
                        </a:spcBef>
                        <a:spcAft>
                          <a:spcPts val="8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п.п</a:t>
                      </a:r>
                      <a:endParaRPr lang="ru-RU" sz="100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 anchorCtr="1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 продукции (подотрасль)</a:t>
                      </a:r>
                      <a:endParaRPr lang="ru-RU" sz="100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Заявители</a:t>
                      </a:r>
                      <a:endParaRPr lang="ru-RU" sz="10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 проблемных вопросов</a:t>
                      </a:r>
                      <a:endParaRPr lang="ru-RU" sz="10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06750092"/>
                  </a:ext>
                </a:extLst>
              </a:tr>
              <a:tr h="712737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</a:t>
                      </a:r>
                      <a:endParaRPr lang="ru-RU" sz="10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 anchorCtr="1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мышленные газы</a:t>
                      </a:r>
                    </a:p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О «Миком» г. Уральск</a:t>
                      </a:r>
                      <a:endParaRPr lang="ru-RU" sz="10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действие в реализации проекта по расширению мощностей и выпуску новых видов медицинских газов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ключение долгосрочного договора на подачу электричества (3-5 лет), и заключение с</a:t>
                      </a:r>
                      <a:r>
                        <a:rPr lang="ru-RU" sz="1000" baseline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нергопроизводящей</a:t>
                      </a: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рганизацией долгосрочного договора поставки электроэнергии </a:t>
                      </a:r>
                    </a:p>
                  </a:txBody>
                  <a:tcPr marL="108000" marR="10800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6806233"/>
                  </a:ext>
                </a:extLst>
              </a:tr>
              <a:tr h="283496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</a:t>
                      </a:r>
                      <a:endParaRPr lang="ru-RU" sz="10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 anchorCtr="1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ытовая химия и антисептики</a:t>
                      </a:r>
                      <a:endParaRPr lang="ru-RU" sz="100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О «Аврора Холдинг»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ea typeface="Arial Unicode MS"/>
                          <a:cs typeface="Arial" panose="020B0604020202020204" pitchFamily="34" charset="0"/>
                        </a:rPr>
                        <a:t>Наличие</a:t>
                      </a:r>
                      <a:r>
                        <a:rPr lang="ru-RU" sz="1000" baseline="0" dirty="0">
                          <a:effectLst/>
                          <a:latin typeface="Arial" panose="020B0604020202020204" pitchFamily="34" charset="0"/>
                          <a:ea typeface="Arial Unicode MS"/>
                          <a:cs typeface="Arial" panose="020B0604020202020204" pitchFamily="34" charset="0"/>
                        </a:rPr>
                        <a:t> контрафактной продукции и отсутствия </a:t>
                      </a:r>
                      <a:r>
                        <a:rPr lang="ru-RU" sz="1000" baseline="0" dirty="0" err="1">
                          <a:effectLst/>
                          <a:latin typeface="Arial" panose="020B0604020202020204" pitchFamily="34" charset="0"/>
                          <a:ea typeface="Arial Unicode MS"/>
                          <a:cs typeface="Arial" panose="020B0604020202020204" pitchFamily="34" charset="0"/>
                        </a:rPr>
                        <a:t>гос</a:t>
                      </a:r>
                      <a:r>
                        <a:rPr lang="ru-RU" sz="1000" baseline="0" dirty="0">
                          <a:effectLst/>
                          <a:latin typeface="Arial" panose="020B0604020202020204" pitchFamily="34" charset="0"/>
                          <a:ea typeface="Arial Unicode MS"/>
                          <a:cs typeface="Arial" panose="020B0604020202020204" pitchFamily="34" charset="0"/>
                        </a:rPr>
                        <a:t> контроля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7046755"/>
                  </a:ext>
                </a:extLst>
              </a:tr>
              <a:tr h="283496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</a:t>
                      </a:r>
                      <a:endParaRPr lang="ru-RU" sz="10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 anchorCtr="1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бор и переработка масел и антифриза</a:t>
                      </a:r>
                      <a:endParaRPr lang="ru-RU" sz="100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О «Алем Тынысы»</a:t>
                      </a:r>
                      <a:endParaRPr lang="ru-RU" sz="1000"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сутствие стимулирующих механизмов по увеличению количества сбора и переработки масел и антифриза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531952"/>
                  </a:ext>
                </a:extLst>
              </a:tr>
              <a:tr h="619098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ln>
                            <a:noFill/>
                          </a:ln>
                          <a:solidFill>
                            <a:schemeClr val="lt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</a:t>
                      </a:r>
                      <a:endParaRPr lang="ru-RU" sz="100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 anchorCtr="1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Bef>
                          <a:spcPts val="8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цианида</a:t>
                      </a:r>
                      <a:endParaRPr lang="ru-RU" sz="100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ОО «Талас Инвест </a:t>
                      </a:r>
                      <a:r>
                        <a:rPr lang="ru-RU" sz="1000" dirty="0" err="1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пани</a:t>
                      </a: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»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Отсутствие</a:t>
                      </a:r>
                      <a:r>
                        <a:rPr lang="ru-RU" sz="1000" baseline="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ырья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повышения стоимости газа и электричества.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dirty="0">
                          <a:ln>
                            <a:noFill/>
                          </a:ln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импорт продукции из РФ </a:t>
                      </a:r>
                      <a:endParaRPr lang="ru-RU" sz="1000" dirty="0">
                        <a:effectLst/>
                        <a:latin typeface="Arial" panose="020B0604020202020204" pitchFamily="34" charset="0"/>
                        <a:ea typeface="Arial Unicode MS"/>
                        <a:cs typeface="Arial" panose="020B0604020202020204" pitchFamily="34" charset="0"/>
                      </a:endParaRPr>
                    </a:p>
                  </a:txBody>
                  <a:tcPr marL="108000" marR="108000" marT="0" marB="0" anchor="ctr" anchorCtr="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801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7752017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4"/>
          <p:cNvSpPr>
            <a:spLocks noChangeArrowheads="1"/>
          </p:cNvSpPr>
          <p:nvPr/>
        </p:nvSpPr>
        <p:spPr bwMode="auto">
          <a:xfrm>
            <a:off x="5753100" y="1649187"/>
            <a:ext cx="196850" cy="19685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6" name="object 5"/>
          <p:cNvSpPr>
            <a:spLocks/>
          </p:cNvSpPr>
          <p:nvPr/>
        </p:nvSpPr>
        <p:spPr bwMode="auto">
          <a:xfrm>
            <a:off x="5753100" y="1064987"/>
            <a:ext cx="196850" cy="196850"/>
          </a:xfrm>
          <a:custGeom>
            <a:avLst/>
            <a:gdLst>
              <a:gd name="T0" fmla="*/ 0 w 196850"/>
              <a:gd name="T1" fmla="*/ 0 h 196850"/>
              <a:gd name="T2" fmla="*/ 196748 w 196850"/>
              <a:gd name="T3" fmla="*/ 0 h 196850"/>
              <a:gd name="T4" fmla="*/ 196748 w 196850"/>
              <a:gd name="T5" fmla="*/ 196748 h 196850"/>
              <a:gd name="T6" fmla="*/ 0 w 196850"/>
              <a:gd name="T7" fmla="*/ 196748 h 196850"/>
              <a:gd name="T8" fmla="*/ 0 w 196850"/>
              <a:gd name="T9" fmla="*/ 0 h 1968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96850" h="196850">
                <a:moveTo>
                  <a:pt x="0" y="0"/>
                </a:moveTo>
                <a:lnTo>
                  <a:pt x="196748" y="0"/>
                </a:lnTo>
                <a:lnTo>
                  <a:pt x="196748" y="196748"/>
                </a:lnTo>
                <a:lnTo>
                  <a:pt x="0" y="196748"/>
                </a:lnTo>
                <a:lnTo>
                  <a:pt x="0" y="0"/>
                </a:lnTo>
                <a:close/>
              </a:path>
            </a:pathLst>
          </a:custGeom>
          <a:solidFill>
            <a:srgbClr val="FAAA3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ru-RU"/>
          </a:p>
        </p:txBody>
      </p:sp>
      <p:sp>
        <p:nvSpPr>
          <p:cNvPr id="7" name="object 6"/>
          <p:cNvSpPr>
            <a:spLocks noChangeArrowheads="1"/>
          </p:cNvSpPr>
          <p:nvPr/>
        </p:nvSpPr>
        <p:spPr bwMode="auto">
          <a:xfrm>
            <a:off x="6042025" y="1357087"/>
            <a:ext cx="196850" cy="196850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8" name="object 7"/>
          <p:cNvSpPr>
            <a:spLocks noChangeArrowheads="1"/>
          </p:cNvSpPr>
          <p:nvPr/>
        </p:nvSpPr>
        <p:spPr bwMode="auto">
          <a:xfrm>
            <a:off x="6042025" y="1649187"/>
            <a:ext cx="196850" cy="196850"/>
          </a:xfrm>
          <a:prstGeom prst="rect">
            <a:avLst/>
          </a:prstGeom>
          <a:blipFill dpi="0" rotWithShape="1">
            <a:blip r:embed="rId4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9" name="object 8"/>
          <p:cNvSpPr>
            <a:spLocks noChangeArrowheads="1"/>
          </p:cNvSpPr>
          <p:nvPr/>
        </p:nvSpPr>
        <p:spPr bwMode="auto">
          <a:xfrm>
            <a:off x="6042025" y="1068162"/>
            <a:ext cx="196850" cy="196850"/>
          </a:xfrm>
          <a:prstGeom prst="rect">
            <a:avLst/>
          </a:prstGeom>
          <a:blipFill dpi="0" rotWithShape="1">
            <a:blip r:embed="rId5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10" name="object 9"/>
          <p:cNvSpPr>
            <a:spLocks noChangeArrowheads="1"/>
          </p:cNvSpPr>
          <p:nvPr/>
        </p:nvSpPr>
        <p:spPr bwMode="auto">
          <a:xfrm>
            <a:off x="6334125" y="1357087"/>
            <a:ext cx="196850" cy="196850"/>
          </a:xfrm>
          <a:prstGeom prst="rect">
            <a:avLst/>
          </a:prstGeom>
          <a:blipFill dpi="0" rotWithShape="1">
            <a:blip r:embed="rId6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11" name="object 10"/>
          <p:cNvSpPr>
            <a:spLocks noChangeArrowheads="1"/>
          </p:cNvSpPr>
          <p:nvPr/>
        </p:nvSpPr>
        <p:spPr bwMode="auto">
          <a:xfrm>
            <a:off x="6334125" y="1649187"/>
            <a:ext cx="196850" cy="196850"/>
          </a:xfrm>
          <a:prstGeom prst="rect">
            <a:avLst/>
          </a:prstGeom>
          <a:blipFill dpi="0" rotWithShape="1">
            <a:blip r:embed="rId7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12" name="object 11"/>
          <p:cNvSpPr>
            <a:spLocks noChangeArrowheads="1"/>
          </p:cNvSpPr>
          <p:nvPr/>
        </p:nvSpPr>
        <p:spPr bwMode="auto">
          <a:xfrm>
            <a:off x="6334125" y="1068162"/>
            <a:ext cx="196850" cy="196850"/>
          </a:xfrm>
          <a:prstGeom prst="rect">
            <a:avLst/>
          </a:prstGeom>
          <a:blipFill dpi="0" rotWithShape="1">
            <a:blip r:embed="rId8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13" name="object 12"/>
          <p:cNvSpPr>
            <a:spLocks noChangeArrowheads="1"/>
          </p:cNvSpPr>
          <p:nvPr/>
        </p:nvSpPr>
        <p:spPr bwMode="auto">
          <a:xfrm>
            <a:off x="5753100" y="1357087"/>
            <a:ext cx="196850" cy="196850"/>
          </a:xfrm>
          <a:prstGeom prst="rect">
            <a:avLst/>
          </a:prstGeom>
          <a:blipFill dpi="0" rotWithShape="1">
            <a:blip r:embed="rId9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3092450" y="2027692"/>
            <a:ext cx="6096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altLang="ru-RU" sz="3600" dirty="0">
                <a:latin typeface="Arial" panose="020B0604020202020204" pitchFamily="34" charset="0"/>
                <a:cs typeface="Arial" panose="020B0604020202020204" pitchFamily="34" charset="0"/>
              </a:rPr>
              <a:t>KAZHIMPROM</a:t>
            </a:r>
            <a:br>
              <a:rPr lang="ru-RU" altLang="ru-RU" sz="3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000" dirty="0">
                <a:latin typeface="Arial" panose="020B0604020202020204" pitchFamily="34" charset="0"/>
                <a:cs typeface="Arial" panose="020B0604020202020204" pitchFamily="34" charset="0"/>
              </a:rPr>
              <a:t>КАЗАХСТАНСКИЙ СОЮЗ ХИМИЧЕСКОЙ </a:t>
            </a:r>
            <a:r>
              <a:rPr lang="ru-RU" altLang="ru-RU" sz="1100" dirty="0">
                <a:latin typeface="Arial" panose="020B0604020202020204" pitchFamily="34" charset="0"/>
                <a:cs typeface="Arial" panose="020B0604020202020204" pitchFamily="34" charset="0"/>
              </a:rPr>
              <a:t>промышленности</a:t>
            </a:r>
            <a:endParaRPr lang="ru-RU" sz="1000" dirty="0"/>
          </a:p>
        </p:txBody>
      </p:sp>
      <p:sp>
        <p:nvSpPr>
          <p:cNvPr id="18" name="object 17"/>
          <p:cNvSpPr>
            <a:spLocks noChangeArrowheads="1"/>
          </p:cNvSpPr>
          <p:nvPr/>
        </p:nvSpPr>
        <p:spPr bwMode="auto">
          <a:xfrm>
            <a:off x="5183223" y="6172596"/>
            <a:ext cx="209550" cy="209550"/>
          </a:xfrm>
          <a:prstGeom prst="rect">
            <a:avLst/>
          </a:prstGeom>
          <a:blipFill dpi="0" rotWithShape="1">
            <a:blip r:embed="rId10"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19" name="object 18"/>
          <p:cNvSpPr>
            <a:spLocks noChangeArrowheads="1"/>
          </p:cNvSpPr>
          <p:nvPr/>
        </p:nvSpPr>
        <p:spPr bwMode="auto">
          <a:xfrm>
            <a:off x="5150594" y="5798343"/>
            <a:ext cx="249238" cy="249238"/>
          </a:xfrm>
          <a:prstGeom prst="rect">
            <a:avLst/>
          </a:prstGeom>
          <a:blipFill dpi="0" rotWithShape="1">
            <a:blip r:embed="rId11"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ru-RU" alt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3048000" y="3105835"/>
            <a:ext cx="641604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sz="4800" b="1" dirty="0">
                <a:solidFill>
                  <a:srgbClr val="1E1818"/>
                </a:solidFill>
              </a:rPr>
              <a:t>Спасибо за внимание!</a:t>
            </a:r>
            <a:endParaRPr lang="ru-RU" sz="48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5406890" y="5707696"/>
            <a:ext cx="2401683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1400" dirty="0">
                <a:latin typeface="Arial Black" panose="020B0A04020102020204" pitchFamily="34" charset="0"/>
                <a:hlinkClick r:id="rId12"/>
              </a:rPr>
              <a:t>http://chemindustry.kz/</a:t>
            </a:r>
            <a:endParaRPr lang="ru-RU" sz="1400" dirty="0">
              <a:latin typeface="Arial Black" panose="020B0A0402010202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1400" dirty="0">
                <a:latin typeface="Arial Black" panose="020B0A04020102020204" pitchFamily="34" charset="0"/>
              </a:rPr>
              <a:t> </a:t>
            </a:r>
            <a:r>
              <a:rPr lang="en-US" sz="1400" dirty="0">
                <a:latin typeface="Arial Black" panose="020B0A04020102020204" pitchFamily="34" charset="0"/>
                <a:hlinkClick r:id="rId13"/>
              </a:rPr>
              <a:t>khp@khp.kz</a:t>
            </a:r>
            <a:endParaRPr lang="ru-RU" sz="1400" dirty="0"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7467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94DE6AA7-B20C-0B4E-869D-C347D0231489}"/>
              </a:ext>
            </a:extLst>
          </p:cNvPr>
          <p:cNvSpPr txBox="1"/>
          <p:nvPr/>
        </p:nvSpPr>
        <p:spPr>
          <a:xfrm>
            <a:off x="536965" y="1435447"/>
            <a:ext cx="10966142" cy="47583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defRPr/>
            </a:pPr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ОЮЛ «Казахстанский союз химической промышленности»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(далее – Казхимпром) создан в целях поддержки развития предпринимательства в химической промышленности. КАЗХИМПРОМ аккредитован в Министерстве индустрии и инфраструктурного развития,  в Министерстве торговли и интеграции Республики Казахстан а так же в Национальной палате предпринимателей «Атамекен» и выполняет функции НПП РК «Атамекен» в следующих направлениях:</a:t>
            </a:r>
          </a:p>
          <a:p>
            <a:pPr algn="just">
              <a:lnSpc>
                <a:spcPct val="150000"/>
              </a:lnSpc>
              <a:defRPr/>
            </a:pP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50000"/>
              </a:lnSpc>
              <a:defRPr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1) по представительству, защите прав и законных интересов субъектов предпринимательства;</a:t>
            </a:r>
          </a:p>
          <a:p>
            <a:pPr algn="just">
              <a:lnSpc>
                <a:spcPct val="150000"/>
              </a:lnSpc>
              <a:defRPr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2) в сфере организации поддержки и развития предпринимательства; </a:t>
            </a:r>
          </a:p>
          <a:p>
            <a:pPr algn="just">
              <a:lnSpc>
                <a:spcPct val="150000"/>
              </a:lnSpc>
              <a:defRPr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З) в сфере поддержки отечественного производства и повышения доли местного содержания;</a:t>
            </a:r>
          </a:p>
          <a:p>
            <a:pPr algn="just">
              <a:lnSpc>
                <a:spcPct val="150000"/>
              </a:lnSpc>
              <a:defRPr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4) в сфере подготовки, переподготовки повышения квалификации, разработки профессиональных стандартов, сертификации и аттестации кадров и развития технического и профессионального образования </a:t>
            </a:r>
          </a:p>
          <a:p>
            <a:pPr algn="just">
              <a:lnSpc>
                <a:spcPct val="150000"/>
              </a:lnSpc>
              <a:defRPr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5) в сфере обеспечения социального партнерства. </a:t>
            </a:r>
            <a:endParaRPr lang="ru-RU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32760" y="702462"/>
            <a:ext cx="1138210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latin typeface="Arial" panose="020B0604020202020204" pitchFamily="34" charset="0"/>
                <a:cs typeface="Arial" panose="020B0604020202020204" pitchFamily="34" charset="0"/>
              </a:rPr>
              <a:t>ИНФОРМАЦИЯ О СОЮЗЕ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91780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F92989FB-1024-49B7-BDF1-B3CE27D486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80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987D6F4-EC95-4EF1-A8AD-4B70386CEE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rgbClr val="46535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5F792DF-9D0A-4DB6-9A9E-7312F5A7E8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41830" y="457200"/>
            <a:ext cx="7498080" cy="9144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4DE6AA7-B20C-0B4E-869D-C347D0231489}"/>
              </a:ext>
            </a:extLst>
          </p:cNvPr>
          <p:cNvSpPr txBox="1"/>
          <p:nvPr/>
        </p:nvSpPr>
        <p:spPr>
          <a:xfrm>
            <a:off x="449311" y="1351756"/>
            <a:ext cx="11293376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lnSpc>
                <a:spcPct val="150000"/>
              </a:lnSpc>
              <a:defRPr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Одно из крупнейших секторов по объему выбросов загрязняющих веществ является химическая промышленность. В связи с ростом концентрации углекислого газа (СО2) в атмосфере, актуальным решением стало декарбонизация экономики и энергетических систем. Декарбонизация подразумевает снижение выбросов углекислого газа (СО2). Актуальность декарбонизации энергетических систем возросла после вступления в силу Парижского соглашения по климату в 2016 г.</a:t>
            </a:r>
          </a:p>
          <a:p>
            <a:pPr algn="just">
              <a:lnSpc>
                <a:spcPct val="150000"/>
              </a:lnSpc>
              <a:defRPr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Европейская комиссия 14 июля представила масштабную программу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Fit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55. Она нацелена на сокращение в странах Евросоюза выбросов парниковых газов к 2030 году на 55% в сравнении с 1990 годом и достижение углеродной нейтральности континента к 2050-му. По данным компании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rnst &amp; Young Global Limited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(EY)</a:t>
            </a:r>
            <a:r>
              <a:rPr lang="ru-RU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углеродный налог в Казахстане может появиться в 2023–2025 годах. Данные тенденции, снизят экспорт углеводородов и потребление угля, но данный факт положительно скажется на развитие химической промышленности Казахстана, при наличие принятия стратегии ускоренного ее развития.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446535" y="713452"/>
            <a:ext cx="829066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НДЕНЦИИ ХИМИЧЕСКОЙ ОТРАСЛИ 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41220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3504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0926" y="294186"/>
            <a:ext cx="11530148" cy="1060992"/>
          </a:xfrm>
        </p:spPr>
        <p:txBody>
          <a:bodyPr vert="horz">
            <a:noAutofit/>
          </a:bodyPr>
          <a:lstStyle/>
          <a:p>
            <a:r>
              <a:rPr lang="ru-RU" sz="3200" b="1" dirty="0">
                <a:latin typeface="Arial" panose="020B0604020202020204" pitchFamily="34" charset="0"/>
                <a:cs typeface="Arial" panose="020B0604020202020204" pitchFamily="34" charset="0"/>
              </a:rPr>
              <a:t>Характеристика химической промышленности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634361" y="1597296"/>
            <a:ext cx="10716834" cy="420306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06000" indent="-30600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7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>
                <a:solidFill>
                  <a:srgbClr val="1E181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ровая отрасль химической промышленности является одной из:                                </a:t>
            </a: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q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Крупнейших в мире по объему производства;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Наиболее диверсифицированных с точки зрения ассортимента товара;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Самых высоких показателей производительности труда;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Капиталоемких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q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Наиболее наукоемких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В Европе, по объему выпуска превышает машиностроения, автомобилестроения, телекоммуникации, уступает лишь фармацевтике.</a:t>
            </a:r>
          </a:p>
          <a:p>
            <a:pPr algn="just"/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Удельные инвестиции в инновации превышают машиностроение, автомобилестроение, телекоммуникации, уступая только фармацевтике.</a:t>
            </a:r>
          </a:p>
        </p:txBody>
      </p:sp>
    </p:spTree>
    <p:extLst>
      <p:ext uri="{BB962C8B-B14F-4D97-AF65-F5344CB8AC3E}">
        <p14:creationId xmlns:p14="http://schemas.microsoft.com/office/powerpoint/2010/main" val="15254027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бъект 2"/>
          <p:cNvSpPr>
            <a:spLocks noGrp="1"/>
          </p:cNvSpPr>
          <p:nvPr>
            <p:ph idx="1"/>
          </p:nvPr>
        </p:nvSpPr>
        <p:spPr>
          <a:xfrm>
            <a:off x="418014" y="1280938"/>
            <a:ext cx="11277598" cy="5262880"/>
          </a:xfrm>
        </p:spPr>
        <p:txBody>
          <a:bodyPr>
            <a:noAutofit/>
          </a:bodyPr>
          <a:lstStyle/>
          <a:p>
            <a:pPr lvl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бъем импорта химической и смежных отраслей продукции с каждым годом растет на 15-20%.</a:t>
            </a:r>
          </a:p>
          <a:p>
            <a:pPr lvl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бщий объем экспорта составляет 2,869 млрд. долларов на 2020г.</a:t>
            </a:r>
          </a:p>
          <a:p>
            <a:pPr lvl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бщий объем импорта составляет 5,71 млрд. долларов на 2020г.</a:t>
            </a:r>
          </a:p>
          <a:p>
            <a:pPr lvl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бъем импорта в 2 с лишним раза больше экспорта</a:t>
            </a:r>
          </a:p>
          <a:p>
            <a:pPr lvl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Экспортируется в основном сырье и продукция низкого передела, а импортируется продукция высокого передела.</a:t>
            </a:r>
          </a:p>
          <a:p>
            <a:pPr lvl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сновные товары экспорта: элементы химические радиоактивные и изотопы радиоактивные; удобрения минеральные или химические;</a:t>
            </a:r>
            <a:r>
              <a:rPr lang="kk-KZ" sz="1800" dirty="0">
                <a:latin typeface="Arial" panose="020B0604020202020204" pitchFamily="34" charset="0"/>
                <a:cs typeface="Arial" panose="020B0604020202020204" pitchFamily="34" charset="0"/>
              </a:rPr>
              <a:t> углеводороды ациклические и циклические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; полимеры пропилена; водород, газы инертные и прочие; оксиды и гидроксиды хрома и т.д.</a:t>
            </a:r>
          </a:p>
          <a:p>
            <a:pPr lvl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сновные товары импорта: удобрения минеральные или химические; серная кислота; олеум; карбонаты; </a:t>
            </a:r>
            <a:r>
              <a:rPr lang="ru-RU" sz="1800" dirty="0" err="1">
                <a:latin typeface="Arial" panose="020B0604020202020204" pitchFamily="34" charset="0"/>
                <a:cs typeface="Arial" panose="020B0604020202020204" pitchFamily="34" charset="0"/>
              </a:rPr>
              <a:t>пероксокарбонаты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; карбонат аммония технический, содержащий карбонат аммония; полимеры этилена в первичных формах; шины и покрышки пневматические резиновые новые; инсектициды, родентициды, фунгициды, гербициды, </a:t>
            </a:r>
            <a:r>
              <a:rPr lang="ru-RU" sz="1800" dirty="0" err="1">
                <a:latin typeface="Arial" panose="020B0604020202020204" pitchFamily="34" charset="0"/>
                <a:cs typeface="Arial" panose="020B0604020202020204" pitchFamily="34" charset="0"/>
              </a:rPr>
              <a:t>противовсходовые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средства и регуляторы роста растений; косметические средства или средства для макияжа и средства для ухода за кожей; краски и лаки, бытовая химия и</a:t>
            </a:r>
            <a:r>
              <a:rPr lang="kk-KZ" sz="1800" dirty="0">
                <a:latin typeface="Arial" panose="020B0604020202020204" pitchFamily="34" charset="0"/>
                <a:cs typeface="Arial" panose="020B0604020202020204" pitchFamily="34" charset="0"/>
              </a:rPr>
              <a:t> т.д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lvl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На сегодня доля в ВВП в химической промышленности Казахстана составляет 0,25%.</a:t>
            </a:r>
          </a:p>
          <a:p>
            <a:pPr lvl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Доля химической промышленности в ВВП у других стран:</a:t>
            </a:r>
          </a:p>
          <a:p>
            <a:pPr marL="0" lvl="0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Россия - 2%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Азербайджан – 5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%;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Узбекистан - 1%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Корея– 1,6%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США – 2%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Китай – 8%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Германия – 10%.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Химическая промышленность в ВВП может вырасти до 2,5-3%.</a:t>
            </a:r>
            <a:endParaRPr lang="ru-RU" sz="1800" cap="all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418014" y="578831"/>
            <a:ext cx="825617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cap="all" dirty="0">
                <a:latin typeface="Arial" panose="020B0604020202020204" pitchFamily="34" charset="0"/>
                <a:cs typeface="Arial" panose="020B0604020202020204" pitchFamily="34" charset="0"/>
              </a:rPr>
              <a:t>ХИМИЧЕСКАЯ ОТРАСЛЬ КАЗАХСТАНА</a:t>
            </a:r>
          </a:p>
        </p:txBody>
      </p:sp>
    </p:spTree>
    <p:extLst>
      <p:ext uri="{BB962C8B-B14F-4D97-AF65-F5344CB8AC3E}">
        <p14:creationId xmlns:p14="http://schemas.microsoft.com/office/powerpoint/2010/main" val="429483922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0645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5122" y="874141"/>
            <a:ext cx="11311608" cy="940788"/>
          </a:xfrm>
        </p:spPr>
        <p:txBody>
          <a:bodyPr vert="horz">
            <a:noAutofit/>
          </a:bodyPr>
          <a:lstStyle/>
          <a:p>
            <a:r>
              <a:rPr lang="ru-RU" sz="3200" b="1" dirty="0">
                <a:latin typeface="Arial" panose="020B0604020202020204" pitchFamily="34" charset="0"/>
                <a:cs typeface="Arial" panose="020B0604020202020204" pitchFamily="34" charset="0"/>
              </a:rPr>
              <a:t>Список проблемных вопросов  ХИМИЧЕСКОЙ ПРОМЫШЛЕННОСТИ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25122" y="1846218"/>
            <a:ext cx="11016344" cy="3809228"/>
          </a:xfrm>
        </p:spPr>
        <p:txBody>
          <a:bodyPr>
            <a:normAutofit/>
          </a:bodyPr>
          <a:lstStyle/>
          <a:p>
            <a:pPr lvl="0" algn="just">
              <a:buFont typeface="Wingdings" panose="05000000000000000000" pitchFamily="2" charset="2"/>
              <a:buChar char="v"/>
            </a:pP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Доступ к сырью предприятий химической промышленности выпускаемые недропользователями.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>
              <a:buFont typeface="Wingdings" panose="05000000000000000000" pitchFamily="2" charset="2"/>
              <a:buChar char="v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Не исполняется послание Президента Республики Казахстан от 1 сентября 2020 года по обеспечению предприятий обрабатывающей промышленности отечественным сырьём.</a:t>
            </a:r>
          </a:p>
          <a:p>
            <a:pPr lvl="0" algn="just"/>
            <a:endParaRPr lang="ru-RU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/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Пути решения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>
              <a:buFont typeface="Wingdings" panose="05000000000000000000" pitchFamily="2" charset="2"/>
              <a:buChar char="q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Внесение необходимых поправок в закон о промышленной политике и кодекс о недрах (проект поправок от Казхимпром подготовлен и направлен в адрес КОП НПП «Атамекен»).</a:t>
            </a:r>
          </a:p>
        </p:txBody>
      </p:sp>
    </p:spTree>
    <p:extLst>
      <p:ext uri="{BB962C8B-B14F-4D97-AF65-F5344CB8AC3E}">
        <p14:creationId xmlns:p14="http://schemas.microsoft.com/office/powerpoint/2010/main" val="13045777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0645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425" imgH="424" progId="TCLayout.ActiveDocument.1">
                  <p:embed/>
                </p:oleObj>
              </mc:Choice>
              <mc:Fallback>
                <p:oleObj name="Слайд think-cell" r:id="rId3" imgW="425" imgH="424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25122" y="1814929"/>
            <a:ext cx="11282858" cy="4675093"/>
          </a:xfrm>
        </p:spPr>
        <p:txBody>
          <a:bodyPr>
            <a:normAutofit/>
          </a:bodyPr>
          <a:lstStyle/>
          <a:p>
            <a:pPr algn="just">
              <a:buFont typeface="Wingdings" panose="05000000000000000000" pitchFamily="2" charset="2"/>
              <a:buChar char="v"/>
            </a:pP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Отсутствие доступа бизнеса к следующим базовым химическим продуктам (метанол, аммиак, этилен, пропилен, бензол, окись этилена, каустическая сода, базовые масла, амины, гликоли, минеральные и химические удобрения, буровые реагенты, хлор, </a:t>
            </a:r>
            <a:r>
              <a:rPr lang="ru-RU" sz="1800" b="1" dirty="0" err="1">
                <a:latin typeface="Arial" panose="020B0604020202020204" pitchFamily="34" charset="0"/>
                <a:cs typeface="Arial" panose="020B0604020202020204" pitchFamily="34" charset="0"/>
              </a:rPr>
              <a:t>кальцый</a:t>
            </a: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 хлор, калий хлор, катализаторы, </a:t>
            </a:r>
            <a:r>
              <a:rPr lang="ru-RU" sz="1800" b="1" dirty="0" err="1">
                <a:latin typeface="Arial" panose="020B0604020202020204" pitchFamily="34" charset="0"/>
                <a:cs typeface="Arial" panose="020B0604020202020204" pitchFamily="34" charset="0"/>
              </a:rPr>
              <a:t>противотурбулентные</a:t>
            </a: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 присадки, бихромат натрия и </a:t>
            </a:r>
            <a:r>
              <a:rPr lang="ru-RU" sz="1800" b="1" dirty="0" err="1">
                <a:latin typeface="Arial" panose="020B0604020202020204" pitchFamily="34" charset="0"/>
                <a:cs typeface="Arial" panose="020B0604020202020204" pitchFamily="34" charset="0"/>
              </a:rPr>
              <a:t>т.д</a:t>
            </a: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algn="just"/>
            <a:endParaRPr lang="ru-RU" sz="1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Пути решения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buFont typeface="Wingdings" panose="05000000000000000000" pitchFamily="2" charset="2"/>
              <a:buChar char="q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рганизация производства данных продуктов, за счет государственных средств на базе действующих СЭЗ и других имеющихся площадках.</a:t>
            </a:r>
          </a:p>
          <a:p>
            <a:pPr algn="just">
              <a:buFont typeface="Wingdings" panose="05000000000000000000" pitchFamily="2" charset="2"/>
              <a:buChar char="q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Создание структуры либо наделение полномочиями с функциями интегратора цепочек добавленной стоимости в химической промышленности при участии бизнес сообщества (союзы).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425122" y="874141"/>
            <a:ext cx="11311608" cy="940788"/>
          </a:xfrm>
        </p:spPr>
        <p:txBody>
          <a:bodyPr vert="horz">
            <a:noAutofit/>
          </a:bodyPr>
          <a:lstStyle/>
          <a:p>
            <a:r>
              <a:rPr lang="ru-RU" sz="3200" b="1" dirty="0">
                <a:latin typeface="Arial" panose="020B0604020202020204" pitchFamily="34" charset="0"/>
                <a:cs typeface="Arial" panose="020B0604020202020204" pitchFamily="34" charset="0"/>
              </a:rPr>
              <a:t>Список проблемных вопросов  ХИМИЧЕСКОЙ ПРОМЫШЛЕННОСТИ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27254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4570" y="1668333"/>
            <a:ext cx="11213555" cy="4958879"/>
          </a:xfrm>
        </p:spPr>
        <p:txBody>
          <a:bodyPr>
            <a:normAutofit/>
          </a:bodyPr>
          <a:lstStyle/>
          <a:p>
            <a:pPr algn="just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v"/>
            </a:pP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Отсутствие доступного финансирования проектов обрабатывающей промышленности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Пути решения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Предоставление инструментов доступного финансирование через ФРП (фонд развитие промышленности), при участии организованного бизнес сообщества (союзы), таких как: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-Предоставление промышленных грантов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-Финансирование НИОКР и трансферта технологий</a:t>
            </a:r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-участие в проектах химической промышленности путем вхождения до 70% в участники проекта. 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v"/>
            </a:pP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Ограничен доступ к регулируемым рынкам сбыта (</a:t>
            </a:r>
            <a:r>
              <a:rPr lang="ru-RU" sz="1800" b="1" dirty="0" err="1">
                <a:latin typeface="Arial" panose="020B0604020202020204" pitchFamily="34" charset="0"/>
                <a:cs typeface="Arial" panose="020B0604020202020204" pitchFamily="34" charset="0"/>
              </a:rPr>
              <a:t>недропользователи</a:t>
            </a: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800" b="1" dirty="0" err="1">
                <a:latin typeface="Arial" panose="020B0604020202020204" pitchFamily="34" charset="0"/>
                <a:cs typeface="Arial" panose="020B0604020202020204" pitchFamily="34" charset="0"/>
              </a:rPr>
              <a:t>Самрук</a:t>
            </a: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</a:pP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Пути решения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Включение отраслевых союзов как сторону при заключении добровольных соглашений с недропользователями, НПП, МИИР и МЭ.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Внесение соответствующих изменений в правила закупок </a:t>
            </a:r>
            <a:r>
              <a:rPr lang="ru-RU" sz="1800" dirty="0" err="1">
                <a:latin typeface="Arial" panose="020B0604020202020204" pitchFamily="34" charset="0"/>
                <a:cs typeface="Arial" panose="020B0604020202020204" pitchFamily="34" charset="0"/>
              </a:rPr>
              <a:t>недропозователей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по приоритетности закупок ОТП при участии бизнес сообщества (союзы)</a:t>
            </a: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25122" y="874141"/>
            <a:ext cx="11311608" cy="940788"/>
          </a:xfrm>
        </p:spPr>
        <p:txBody>
          <a:bodyPr vert="horz">
            <a:noAutofit/>
          </a:bodyPr>
          <a:lstStyle/>
          <a:p>
            <a:r>
              <a:rPr lang="ru-RU" sz="3200" b="1" dirty="0">
                <a:latin typeface="Arial" panose="020B0604020202020204" pitchFamily="34" charset="0"/>
                <a:cs typeface="Arial" panose="020B0604020202020204" pitchFamily="34" charset="0"/>
              </a:rPr>
              <a:t>Список проблемных вопросов  ХИМИЧЕСКОЙ ПРОМЫШЛЕННОСТИ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94255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Объект 2"/>
          <p:cNvSpPr txBox="1">
            <a:spLocks/>
          </p:cNvSpPr>
          <p:nvPr/>
        </p:nvSpPr>
        <p:spPr>
          <a:xfrm>
            <a:off x="564908" y="1756714"/>
            <a:ext cx="11032035" cy="430413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06000" indent="-306000" algn="l" defTabSz="457200" rtl="0" eaLnBrk="1" latinLnBrk="0" hangingPunct="1">
              <a:lnSpc>
                <a:spcPct val="110000"/>
              </a:lnSpc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7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5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1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Font typeface="Wingdings" panose="05000000000000000000" pitchFamily="2" charset="2"/>
              <a:buChar char="v"/>
            </a:pPr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Повышение эффективности взаимодействия бизнеса и власти</a:t>
            </a:r>
          </a:p>
          <a:p>
            <a:pPr algn="just"/>
            <a:r>
              <a:rPr lang="ru-RU" sz="1800" b="1" dirty="0">
                <a:latin typeface="Arial" panose="020B0604020202020204" pitchFamily="34" charset="0"/>
                <a:cs typeface="Arial" panose="020B0604020202020204" pitchFamily="34" charset="0"/>
              </a:rPr>
              <a:t>Пути решения</a:t>
            </a:r>
          </a:p>
          <a:p>
            <a:pPr lvl="0" algn="just">
              <a:buFont typeface="Wingdings" panose="05000000000000000000" pitchFamily="2" charset="2"/>
              <a:buChar char="q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Подготовка и принятие правительством документа ответственного за развитие химической промышленности на 15-20 лет.</a:t>
            </a:r>
          </a:p>
          <a:p>
            <a:pPr lvl="0" algn="just">
              <a:buFont typeface="Wingdings" panose="05000000000000000000" pitchFamily="2" charset="2"/>
              <a:buChar char="q"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Создание постоянно действующего органа при участии главы государства по постоянному рассмотрению вопросов химической промышленности.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425122" y="874141"/>
            <a:ext cx="11311608" cy="940788"/>
          </a:xfrm>
        </p:spPr>
        <p:txBody>
          <a:bodyPr vert="horz">
            <a:noAutofit/>
          </a:bodyPr>
          <a:lstStyle/>
          <a:p>
            <a:r>
              <a:rPr lang="ru-RU" sz="3200" b="1" dirty="0">
                <a:latin typeface="Arial" panose="020B0604020202020204" pitchFamily="34" charset="0"/>
                <a:cs typeface="Arial" panose="020B0604020202020204" pitchFamily="34" charset="0"/>
              </a:rPr>
              <a:t>Список проблемных вопросов  ХИМИЧЕСКОЙ ПРОМЫШЛЕННОСТИ</a:t>
            </a:r>
            <a:endParaRPr lang="ru-RU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4158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ndVTI">
  <a:themeElements>
    <a:clrScheme name="DividendVTI">
      <a:dk1>
        <a:sysClr val="windowText" lastClr="000000"/>
      </a:dk1>
      <a:lt1>
        <a:sysClr val="window" lastClr="FFFFFF"/>
      </a:lt1>
      <a:dk2>
        <a:srgbClr val="3D3D3D"/>
      </a:dk2>
      <a:lt2>
        <a:srgbClr val="EBEBEB"/>
      </a:lt2>
      <a:accent1>
        <a:srgbClr val="ED8428"/>
      </a:accent1>
      <a:accent2>
        <a:srgbClr val="E6C46D"/>
      </a:accent2>
      <a:accent3>
        <a:srgbClr val="537685"/>
      </a:accent3>
      <a:accent4>
        <a:srgbClr val="969FA7"/>
      </a:accent4>
      <a:accent5>
        <a:srgbClr val="A9C37C"/>
      </a:accent5>
      <a:accent6>
        <a:srgbClr val="5A8071"/>
      </a:accent6>
      <a:hlink>
        <a:srgbClr val="828282"/>
      </a:hlink>
      <a:folHlink>
        <a:srgbClr val="A5A5A5"/>
      </a:folHlink>
    </a:clrScheme>
    <a:fontScheme name="Dividend">
      <a:majorFont>
        <a:latin typeface="Avenir Next LT Pro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Avenir Next LT Pro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Dividend">
      <a:fillStyleLst>
        <a:solidFill>
          <a:schemeClr val="phClr"/>
        </a:solidFill>
        <a:gradFill rotWithShape="1">
          <a:gsLst>
            <a:gs pos="0">
              <a:schemeClr val="phClr">
                <a:tint val="68000"/>
                <a:alpha val="90000"/>
                <a:lumMod val="100000"/>
              </a:schemeClr>
            </a:gs>
            <a:gs pos="100000">
              <a:schemeClr val="phClr">
                <a:tint val="90000"/>
                <a:lumMod val="9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8000"/>
                <a:lumMod val="110000"/>
              </a:schemeClr>
            </a:gs>
            <a:gs pos="84000">
              <a:schemeClr val="phClr">
                <a:shade val="90000"/>
                <a:lumMod val="88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>
              <a:lumMod val="90000"/>
            </a:schemeClr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55000"/>
              </a:srgbClr>
            </a:outerShdw>
          </a:effectLst>
        </a:effectStyle>
        <a:effectStyle>
          <a:effectLst>
            <a:outerShdw blurRad="88900" dist="38100" dir="504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381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88000">
              <a:schemeClr val="phClr">
                <a:shade val="94000"/>
                <a:satMod val="110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8000"/>
                <a:satMod val="110000"/>
                <a:lumMod val="8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videndVTI" id="{97558BDE-0B66-457C-BB6F-7B1B22DAA9B8}" vid="{F53508A3-AC60-448A-AF37-934D5F1A0D5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258</TotalTime>
  <Words>1351</Words>
  <Application>Microsoft Office PowerPoint</Application>
  <PresentationFormat>Широкоэкранный</PresentationFormat>
  <Paragraphs>138</Paragraphs>
  <Slides>1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2" baseType="lpstr">
      <vt:lpstr>Arial</vt:lpstr>
      <vt:lpstr>Arial Black</vt:lpstr>
      <vt:lpstr>Avenir Next LT Pro</vt:lpstr>
      <vt:lpstr>Calibri</vt:lpstr>
      <vt:lpstr>Corbel</vt:lpstr>
      <vt:lpstr>Times New Roman</vt:lpstr>
      <vt:lpstr>Wingdings</vt:lpstr>
      <vt:lpstr>Wingdings 2</vt:lpstr>
      <vt:lpstr>DividendVTI</vt:lpstr>
      <vt:lpstr>Слайд think-cell</vt:lpstr>
      <vt:lpstr>Доклад ОЮЛ «КАЗАХСТАНСКИЙ СОЮЗ ХИМИЧЕСКОЙ ПРОМЫШЛЕННОСТИ»</vt:lpstr>
      <vt:lpstr>Презентация PowerPoint</vt:lpstr>
      <vt:lpstr>Презентация PowerPoint</vt:lpstr>
      <vt:lpstr>Характеристика химической промышленности</vt:lpstr>
      <vt:lpstr>Презентация PowerPoint</vt:lpstr>
      <vt:lpstr>Список проблемных вопросов  ХИМИЧЕСКОЙ ПРОМЫШЛЕННОСТИ</vt:lpstr>
      <vt:lpstr>Список проблемных вопросов  ХИМИЧЕСКОЙ ПРОМЫШЛЕННОСТИ</vt:lpstr>
      <vt:lpstr>Список проблемных вопросов  ХИМИЧЕСКОЙ ПРОМЫШЛЕННОСТИ</vt:lpstr>
      <vt:lpstr>Список проблемных вопросов  ХИМИЧЕСКОЙ ПРОМЫШЛЕННОСТИ</vt:lpstr>
      <vt:lpstr>список проблемных вопросов отрасли</vt:lpstr>
      <vt:lpstr>список проблемных вопросов отрасли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нализ химической промышленности                                 Республики Казахстан</dc:title>
  <dc:creator>anel smagulova</dc:creator>
  <cp:lastModifiedBy>Райхан Жоламбетова</cp:lastModifiedBy>
  <cp:revision>202</cp:revision>
  <dcterms:created xsi:type="dcterms:W3CDTF">2020-06-19T11:21:11Z</dcterms:created>
  <dcterms:modified xsi:type="dcterms:W3CDTF">2021-09-16T03:04:31Z</dcterms:modified>
</cp:coreProperties>
</file>